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5"/>
  </p:notesMasterIdLst>
  <p:sldIdLst>
    <p:sldId id="2147470117" r:id="rId4"/>
  </p:sldIdLst>
  <p:sldSz cx="12192000" cy="6858000"/>
  <p:notesSz cx="6797675" cy="9926638"/>
  <p:custDataLst>
    <p:tags r:id="rId6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92" autoAdjust="0"/>
    <p:restoredTop sz="96552" autoAdjust="0"/>
  </p:normalViewPr>
  <p:slideViewPr>
    <p:cSldViewPr snapToGrid="0">
      <p:cViewPr varScale="1">
        <p:scale>
          <a:sx n="92" d="100"/>
          <a:sy n="92" d="100"/>
        </p:scale>
        <p:origin x="84" y="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77710670117918E-3"/>
          <c:y val="1.7275747508305649E-2"/>
          <c:w val="0.98504457865976414"/>
          <c:h val="0.95946843853820596"/>
        </c:manualLayout>
      </c:layout>
      <c:bubbleChart>
        <c:varyColors val="0"/>
        <c:ser>
          <c:idx val="0"/>
          <c:order val="0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80</c:f>
              <c:numCache>
                <c:formatCode>General</c:formatCode>
                <c:ptCount val="180"/>
                <c:pt idx="0">
                  <c:v>9.5</c:v>
                </c:pt>
                <c:pt idx="1">
                  <c:v>12.5</c:v>
                </c:pt>
                <c:pt idx="2">
                  <c:v>5.7</c:v>
                </c:pt>
                <c:pt idx="3">
                  <c:v>9</c:v>
                </c:pt>
                <c:pt idx="4">
                  <c:v>8</c:v>
                </c:pt>
                <c:pt idx="5">
                  <c:v>13.5</c:v>
                </c:pt>
                <c:pt idx="6">
                  <c:v>12.5</c:v>
                </c:pt>
                <c:pt idx="7">
                  <c:v>13.5</c:v>
                </c:pt>
                <c:pt idx="8">
                  <c:v>18.600000000000001</c:v>
                </c:pt>
                <c:pt idx="9">
                  <c:v>2.9</c:v>
                </c:pt>
                <c:pt idx="10">
                  <c:v>18</c:v>
                </c:pt>
                <c:pt idx="11">
                  <c:v>4</c:v>
                </c:pt>
                <c:pt idx="12">
                  <c:v>0</c:v>
                </c:pt>
                <c:pt idx="13">
                  <c:v>10</c:v>
                </c:pt>
                <c:pt idx="14">
                  <c:v>12</c:v>
                </c:pt>
                <c:pt idx="15">
                  <c:v>8</c:v>
                </c:pt>
                <c:pt idx="16">
                  <c:v>11.5</c:v>
                </c:pt>
                <c:pt idx="17">
                  <c:v>2.1</c:v>
                </c:pt>
                <c:pt idx="18">
                  <c:v>11</c:v>
                </c:pt>
                <c:pt idx="19">
                  <c:v>2.9</c:v>
                </c:pt>
                <c:pt idx="20">
                  <c:v>2</c:v>
                </c:pt>
                <c:pt idx="21">
                  <c:v>0</c:v>
                </c:pt>
                <c:pt idx="22">
                  <c:v>16</c:v>
                </c:pt>
                <c:pt idx="23">
                  <c:v>18</c:v>
                </c:pt>
                <c:pt idx="24">
                  <c:v>10</c:v>
                </c:pt>
                <c:pt idx="25">
                  <c:v>16</c:v>
                </c:pt>
                <c:pt idx="26">
                  <c:v>20</c:v>
                </c:pt>
                <c:pt idx="27">
                  <c:v>4.5</c:v>
                </c:pt>
                <c:pt idx="28">
                  <c:v>16</c:v>
                </c:pt>
                <c:pt idx="29">
                  <c:v>5</c:v>
                </c:pt>
                <c:pt idx="30">
                  <c:v>9</c:v>
                </c:pt>
                <c:pt idx="31">
                  <c:v>10</c:v>
                </c:pt>
                <c:pt idx="32">
                  <c:v>2.9</c:v>
                </c:pt>
                <c:pt idx="33">
                  <c:v>6</c:v>
                </c:pt>
                <c:pt idx="34">
                  <c:v>19.5</c:v>
                </c:pt>
                <c:pt idx="35">
                  <c:v>9.5</c:v>
                </c:pt>
                <c:pt idx="36">
                  <c:v>6</c:v>
                </c:pt>
                <c:pt idx="37">
                  <c:v>16</c:v>
                </c:pt>
                <c:pt idx="38">
                  <c:v>1.4</c:v>
                </c:pt>
                <c:pt idx="39">
                  <c:v>16</c:v>
                </c:pt>
                <c:pt idx="40">
                  <c:v>15</c:v>
                </c:pt>
                <c:pt idx="41">
                  <c:v>9.5</c:v>
                </c:pt>
                <c:pt idx="42">
                  <c:v>16</c:v>
                </c:pt>
                <c:pt idx="43">
                  <c:v>2.5</c:v>
                </c:pt>
                <c:pt idx="44">
                  <c:v>14.5</c:v>
                </c:pt>
                <c:pt idx="45">
                  <c:v>2.5</c:v>
                </c:pt>
                <c:pt idx="46">
                  <c:v>6</c:v>
                </c:pt>
                <c:pt idx="47">
                  <c:v>14</c:v>
                </c:pt>
                <c:pt idx="48">
                  <c:v>20</c:v>
                </c:pt>
                <c:pt idx="49">
                  <c:v>6</c:v>
                </c:pt>
                <c:pt idx="50">
                  <c:v>2</c:v>
                </c:pt>
                <c:pt idx="51">
                  <c:v>20</c:v>
                </c:pt>
                <c:pt idx="52">
                  <c:v>9.5</c:v>
                </c:pt>
                <c:pt idx="53">
                  <c:v>17</c:v>
                </c:pt>
                <c:pt idx="54">
                  <c:v>13</c:v>
                </c:pt>
                <c:pt idx="55">
                  <c:v>2.9</c:v>
                </c:pt>
                <c:pt idx="56">
                  <c:v>12.5</c:v>
                </c:pt>
                <c:pt idx="57">
                  <c:v>8</c:v>
                </c:pt>
                <c:pt idx="58">
                  <c:v>15</c:v>
                </c:pt>
                <c:pt idx="59">
                  <c:v>16.5</c:v>
                </c:pt>
                <c:pt idx="60">
                  <c:v>15</c:v>
                </c:pt>
                <c:pt idx="61">
                  <c:v>20</c:v>
                </c:pt>
                <c:pt idx="62">
                  <c:v>7.5</c:v>
                </c:pt>
                <c:pt idx="63">
                  <c:v>13</c:v>
                </c:pt>
                <c:pt idx="64">
                  <c:v>9.5</c:v>
                </c:pt>
                <c:pt idx="65">
                  <c:v>5</c:v>
                </c:pt>
                <c:pt idx="66">
                  <c:v>2.1</c:v>
                </c:pt>
                <c:pt idx="67">
                  <c:v>19</c:v>
                </c:pt>
                <c:pt idx="68">
                  <c:v>17.5</c:v>
                </c:pt>
                <c:pt idx="69">
                  <c:v>3.5</c:v>
                </c:pt>
                <c:pt idx="70">
                  <c:v>2</c:v>
                </c:pt>
                <c:pt idx="71">
                  <c:v>18.5</c:v>
                </c:pt>
                <c:pt idx="72">
                  <c:v>14</c:v>
                </c:pt>
                <c:pt idx="73">
                  <c:v>5.7</c:v>
                </c:pt>
                <c:pt idx="74">
                  <c:v>12</c:v>
                </c:pt>
                <c:pt idx="75">
                  <c:v>8</c:v>
                </c:pt>
                <c:pt idx="76">
                  <c:v>2.5</c:v>
                </c:pt>
                <c:pt idx="77">
                  <c:v>3</c:v>
                </c:pt>
                <c:pt idx="78">
                  <c:v>16</c:v>
                </c:pt>
                <c:pt idx="79">
                  <c:v>4.3</c:v>
                </c:pt>
                <c:pt idx="80">
                  <c:v>3</c:v>
                </c:pt>
                <c:pt idx="81">
                  <c:v>18</c:v>
                </c:pt>
                <c:pt idx="82">
                  <c:v>5.5</c:v>
                </c:pt>
                <c:pt idx="83">
                  <c:v>14</c:v>
                </c:pt>
                <c:pt idx="84">
                  <c:v>17.100000000000001</c:v>
                </c:pt>
                <c:pt idx="85">
                  <c:v>15.5</c:v>
                </c:pt>
                <c:pt idx="86">
                  <c:v>2.5</c:v>
                </c:pt>
                <c:pt idx="87">
                  <c:v>16.5</c:v>
                </c:pt>
              </c:numCache>
            </c:numRef>
          </c:xVal>
          <c:yVal>
            <c:numRef>
              <c:f>Sheet1!$B$1:$B$180</c:f>
              <c:numCache>
                <c:formatCode>General</c:formatCode>
                <c:ptCount val="180"/>
                <c:pt idx="0">
                  <c:v>4.3</c:v>
                </c:pt>
                <c:pt idx="1">
                  <c:v>1.6</c:v>
                </c:pt>
                <c:pt idx="2">
                  <c:v>3.6</c:v>
                </c:pt>
                <c:pt idx="3">
                  <c:v>1.2</c:v>
                </c:pt>
                <c:pt idx="4">
                  <c:v>3.8</c:v>
                </c:pt>
                <c:pt idx="5">
                  <c:v>2.1</c:v>
                </c:pt>
                <c:pt idx="6">
                  <c:v>3.6</c:v>
                </c:pt>
                <c:pt idx="7">
                  <c:v>1.4</c:v>
                </c:pt>
                <c:pt idx="8">
                  <c:v>0.2</c:v>
                </c:pt>
                <c:pt idx="9">
                  <c:v>2.2000000000000002</c:v>
                </c:pt>
                <c:pt idx="10">
                  <c:v>2.2000000000000002</c:v>
                </c:pt>
                <c:pt idx="11">
                  <c:v>1.1000000000000001</c:v>
                </c:pt>
                <c:pt idx="12">
                  <c:v>1.2</c:v>
                </c:pt>
                <c:pt idx="13">
                  <c:v>3.4</c:v>
                </c:pt>
                <c:pt idx="14">
                  <c:v>1.2</c:v>
                </c:pt>
                <c:pt idx="15">
                  <c:v>1.2</c:v>
                </c:pt>
                <c:pt idx="16">
                  <c:v>3.4</c:v>
                </c:pt>
                <c:pt idx="17">
                  <c:v>5</c:v>
                </c:pt>
                <c:pt idx="18">
                  <c:v>1.4</c:v>
                </c:pt>
                <c:pt idx="19">
                  <c:v>3.2</c:v>
                </c:pt>
                <c:pt idx="20">
                  <c:v>0.6</c:v>
                </c:pt>
                <c:pt idx="21">
                  <c:v>4.2</c:v>
                </c:pt>
                <c:pt idx="22">
                  <c:v>4.0999999999999996</c:v>
                </c:pt>
                <c:pt idx="23">
                  <c:v>1.2</c:v>
                </c:pt>
                <c:pt idx="24">
                  <c:v>2.8</c:v>
                </c:pt>
                <c:pt idx="25">
                  <c:v>3.2</c:v>
                </c:pt>
                <c:pt idx="26">
                  <c:v>3.4</c:v>
                </c:pt>
                <c:pt idx="27">
                  <c:v>2.1</c:v>
                </c:pt>
                <c:pt idx="28">
                  <c:v>3.6</c:v>
                </c:pt>
                <c:pt idx="29">
                  <c:v>3.4</c:v>
                </c:pt>
                <c:pt idx="30">
                  <c:v>2.1</c:v>
                </c:pt>
                <c:pt idx="31">
                  <c:v>1.8</c:v>
                </c:pt>
                <c:pt idx="32">
                  <c:v>4.4000000000000004</c:v>
                </c:pt>
                <c:pt idx="33">
                  <c:v>1.2</c:v>
                </c:pt>
                <c:pt idx="34">
                  <c:v>1.4</c:v>
                </c:pt>
                <c:pt idx="35">
                  <c:v>3.2</c:v>
                </c:pt>
                <c:pt idx="36">
                  <c:v>4.3</c:v>
                </c:pt>
                <c:pt idx="37">
                  <c:v>0.2</c:v>
                </c:pt>
                <c:pt idx="38">
                  <c:v>3.2</c:v>
                </c:pt>
                <c:pt idx="39">
                  <c:v>3.2</c:v>
                </c:pt>
                <c:pt idx="40">
                  <c:v>3.8</c:v>
                </c:pt>
                <c:pt idx="41">
                  <c:v>3.6</c:v>
                </c:pt>
                <c:pt idx="42">
                  <c:v>1.4</c:v>
                </c:pt>
                <c:pt idx="43">
                  <c:v>1.2</c:v>
                </c:pt>
                <c:pt idx="44">
                  <c:v>2.6</c:v>
                </c:pt>
                <c:pt idx="45">
                  <c:v>1.2</c:v>
                </c:pt>
                <c:pt idx="46">
                  <c:v>3.4</c:v>
                </c:pt>
                <c:pt idx="47">
                  <c:v>2.1</c:v>
                </c:pt>
                <c:pt idx="48">
                  <c:v>1.2</c:v>
                </c:pt>
                <c:pt idx="49">
                  <c:v>2.2000000000000002</c:v>
                </c:pt>
                <c:pt idx="50">
                  <c:v>1.6</c:v>
                </c:pt>
                <c:pt idx="51">
                  <c:v>3.2</c:v>
                </c:pt>
                <c:pt idx="52">
                  <c:v>1.2</c:v>
                </c:pt>
                <c:pt idx="53">
                  <c:v>1.8</c:v>
                </c:pt>
                <c:pt idx="54">
                  <c:v>1.2</c:v>
                </c:pt>
                <c:pt idx="55">
                  <c:v>1.2</c:v>
                </c:pt>
                <c:pt idx="56">
                  <c:v>2.1</c:v>
                </c:pt>
                <c:pt idx="57">
                  <c:v>3.8</c:v>
                </c:pt>
                <c:pt idx="58">
                  <c:v>1.2</c:v>
                </c:pt>
                <c:pt idx="59">
                  <c:v>1.2</c:v>
                </c:pt>
                <c:pt idx="60">
                  <c:v>3.4</c:v>
                </c:pt>
                <c:pt idx="61">
                  <c:v>3.8</c:v>
                </c:pt>
                <c:pt idx="62">
                  <c:v>1.2</c:v>
                </c:pt>
                <c:pt idx="63">
                  <c:v>0.6</c:v>
                </c:pt>
                <c:pt idx="64">
                  <c:v>1.2</c:v>
                </c:pt>
                <c:pt idx="65">
                  <c:v>1.2</c:v>
                </c:pt>
                <c:pt idx="66">
                  <c:v>2.4</c:v>
                </c:pt>
                <c:pt idx="67">
                  <c:v>3.4</c:v>
                </c:pt>
                <c:pt idx="68">
                  <c:v>2.1</c:v>
                </c:pt>
                <c:pt idx="69">
                  <c:v>3.4</c:v>
                </c:pt>
                <c:pt idx="70">
                  <c:v>3.8</c:v>
                </c:pt>
                <c:pt idx="71">
                  <c:v>1.8</c:v>
                </c:pt>
                <c:pt idx="72">
                  <c:v>3.6</c:v>
                </c:pt>
                <c:pt idx="73">
                  <c:v>1.2</c:v>
                </c:pt>
                <c:pt idx="74">
                  <c:v>1.2</c:v>
                </c:pt>
                <c:pt idx="75">
                  <c:v>1.8</c:v>
                </c:pt>
                <c:pt idx="76">
                  <c:v>1.2</c:v>
                </c:pt>
                <c:pt idx="77">
                  <c:v>0.4</c:v>
                </c:pt>
                <c:pt idx="78">
                  <c:v>4.0999999999999996</c:v>
                </c:pt>
                <c:pt idx="79">
                  <c:v>3.8</c:v>
                </c:pt>
                <c:pt idx="80">
                  <c:v>2.2000000000000002</c:v>
                </c:pt>
                <c:pt idx="81">
                  <c:v>3.4</c:v>
                </c:pt>
                <c:pt idx="82">
                  <c:v>1.6</c:v>
                </c:pt>
                <c:pt idx="83">
                  <c:v>1.4</c:v>
                </c:pt>
                <c:pt idx="84">
                  <c:v>3.4</c:v>
                </c:pt>
                <c:pt idx="85">
                  <c:v>2.8</c:v>
                </c:pt>
                <c:pt idx="86">
                  <c:v>3.8</c:v>
                </c:pt>
                <c:pt idx="87">
                  <c:v>2.4</c:v>
                </c:pt>
              </c:numCache>
            </c:numRef>
          </c:yVal>
          <c:bubbleSize>
            <c:numRef>
              <c:f>Sheet1!$C$1:$C$180</c:f>
              <c:numCache>
                <c:formatCode>General</c:formatCode>
                <c:ptCount val="180"/>
                <c:pt idx="0">
                  <c:v>34229</c:v>
                </c:pt>
                <c:pt idx="1">
                  <c:v>12451</c:v>
                </c:pt>
                <c:pt idx="2">
                  <c:v>6748</c:v>
                </c:pt>
                <c:pt idx="3">
                  <c:v>2243</c:v>
                </c:pt>
                <c:pt idx="4">
                  <c:v>11994</c:v>
                </c:pt>
                <c:pt idx="5">
                  <c:v>15349</c:v>
                </c:pt>
                <c:pt idx="6">
                  <c:v>10598</c:v>
                </c:pt>
                <c:pt idx="7">
                  <c:v>24697</c:v>
                </c:pt>
                <c:pt idx="8">
                  <c:v>6203</c:v>
                </c:pt>
                <c:pt idx="9">
                  <c:v>30828</c:v>
                </c:pt>
                <c:pt idx="10">
                  <c:v>14853</c:v>
                </c:pt>
                <c:pt idx="11">
                  <c:v>56574</c:v>
                </c:pt>
                <c:pt idx="12">
                  <c:v>2182</c:v>
                </c:pt>
                <c:pt idx="13">
                  <c:v>1302</c:v>
                </c:pt>
                <c:pt idx="14">
                  <c:v>12943</c:v>
                </c:pt>
                <c:pt idx="15">
                  <c:v>2557</c:v>
                </c:pt>
                <c:pt idx="16">
                  <c:v>1573</c:v>
                </c:pt>
                <c:pt idx="17">
                  <c:v>41268</c:v>
                </c:pt>
                <c:pt idx="18">
                  <c:v>3307</c:v>
                </c:pt>
                <c:pt idx="19">
                  <c:v>2033</c:v>
                </c:pt>
                <c:pt idx="20">
                  <c:v>17071</c:v>
                </c:pt>
                <c:pt idx="21">
                  <c:v>3029</c:v>
                </c:pt>
                <c:pt idx="22">
                  <c:v>93512</c:v>
                </c:pt>
                <c:pt idx="23">
                  <c:v>3615</c:v>
                </c:pt>
                <c:pt idx="24">
                  <c:v>4723</c:v>
                </c:pt>
                <c:pt idx="25">
                  <c:v>8993</c:v>
                </c:pt>
                <c:pt idx="26">
                  <c:v>3554</c:v>
                </c:pt>
                <c:pt idx="27">
                  <c:v>39407</c:v>
                </c:pt>
                <c:pt idx="28">
                  <c:v>1491</c:v>
                </c:pt>
                <c:pt idx="29">
                  <c:v>1281</c:v>
                </c:pt>
                <c:pt idx="30">
                  <c:v>6350</c:v>
                </c:pt>
                <c:pt idx="31">
                  <c:v>1314</c:v>
                </c:pt>
                <c:pt idx="32">
                  <c:v>1073</c:v>
                </c:pt>
                <c:pt idx="33">
                  <c:v>8685</c:v>
                </c:pt>
                <c:pt idx="34">
                  <c:v>1486</c:v>
                </c:pt>
                <c:pt idx="35">
                  <c:v>688</c:v>
                </c:pt>
                <c:pt idx="36">
                  <c:v>35466</c:v>
                </c:pt>
                <c:pt idx="37">
                  <c:v>2861</c:v>
                </c:pt>
                <c:pt idx="38">
                  <c:v>1132</c:v>
                </c:pt>
                <c:pt idx="39">
                  <c:v>1637</c:v>
                </c:pt>
                <c:pt idx="40">
                  <c:v>14923</c:v>
                </c:pt>
                <c:pt idx="41">
                  <c:v>17062</c:v>
                </c:pt>
                <c:pt idx="42">
                  <c:v>7358</c:v>
                </c:pt>
                <c:pt idx="43">
                  <c:v>32861</c:v>
                </c:pt>
                <c:pt idx="44">
                  <c:v>2892</c:v>
                </c:pt>
                <c:pt idx="45">
                  <c:v>4343</c:v>
                </c:pt>
                <c:pt idx="46">
                  <c:v>988</c:v>
                </c:pt>
                <c:pt idx="47">
                  <c:v>12745</c:v>
                </c:pt>
                <c:pt idx="48">
                  <c:v>15567</c:v>
                </c:pt>
                <c:pt idx="49">
                  <c:v>13685</c:v>
                </c:pt>
                <c:pt idx="50">
                  <c:v>15862</c:v>
                </c:pt>
                <c:pt idx="51">
                  <c:v>2284</c:v>
                </c:pt>
                <c:pt idx="52">
                  <c:v>5218</c:v>
                </c:pt>
                <c:pt idx="53">
                  <c:v>17025</c:v>
                </c:pt>
                <c:pt idx="54">
                  <c:v>6370</c:v>
                </c:pt>
                <c:pt idx="55">
                  <c:v>805</c:v>
                </c:pt>
                <c:pt idx="56">
                  <c:v>1658</c:v>
                </c:pt>
                <c:pt idx="57">
                  <c:v>7760</c:v>
                </c:pt>
                <c:pt idx="58">
                  <c:v>12011</c:v>
                </c:pt>
                <c:pt idx="59">
                  <c:v>6324</c:v>
                </c:pt>
                <c:pt idx="60">
                  <c:v>1461</c:v>
                </c:pt>
                <c:pt idx="61">
                  <c:v>642</c:v>
                </c:pt>
                <c:pt idx="62">
                  <c:v>7251</c:v>
                </c:pt>
                <c:pt idx="63">
                  <c:v>5030</c:v>
                </c:pt>
                <c:pt idx="64">
                  <c:v>1372</c:v>
                </c:pt>
                <c:pt idx="65">
                  <c:v>22261</c:v>
                </c:pt>
                <c:pt idx="66">
                  <c:v>767</c:v>
                </c:pt>
                <c:pt idx="67">
                  <c:v>2413</c:v>
                </c:pt>
                <c:pt idx="68">
                  <c:v>2321</c:v>
                </c:pt>
                <c:pt idx="69">
                  <c:v>8089</c:v>
                </c:pt>
                <c:pt idx="70">
                  <c:v>81462</c:v>
                </c:pt>
                <c:pt idx="71">
                  <c:v>1356</c:v>
                </c:pt>
                <c:pt idx="72">
                  <c:v>20805</c:v>
                </c:pt>
                <c:pt idx="73">
                  <c:v>1608</c:v>
                </c:pt>
                <c:pt idx="74">
                  <c:v>1027</c:v>
                </c:pt>
                <c:pt idx="75">
                  <c:v>5429</c:v>
                </c:pt>
                <c:pt idx="76">
                  <c:v>1106</c:v>
                </c:pt>
                <c:pt idx="77">
                  <c:v>1977</c:v>
                </c:pt>
                <c:pt idx="78">
                  <c:v>1460</c:v>
                </c:pt>
                <c:pt idx="79">
                  <c:v>42203</c:v>
                </c:pt>
                <c:pt idx="80">
                  <c:v>21065</c:v>
                </c:pt>
                <c:pt idx="81">
                  <c:v>7146</c:v>
                </c:pt>
                <c:pt idx="82">
                  <c:v>15228</c:v>
                </c:pt>
                <c:pt idx="83">
                  <c:v>21420</c:v>
                </c:pt>
                <c:pt idx="84">
                  <c:v>3245</c:v>
                </c:pt>
                <c:pt idx="85">
                  <c:v>21257</c:v>
                </c:pt>
                <c:pt idx="86">
                  <c:v>4958</c:v>
                </c:pt>
                <c:pt idx="87">
                  <c:v>552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2180-4D3C-A4A6-90E0A0287C07}"/>
            </c:ext>
          </c:extLst>
        </c:ser>
        <c:ser>
          <c:idx val="1"/>
          <c:order val="1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80</c:f>
              <c:numCache>
                <c:formatCode>General</c:formatCode>
                <c:ptCount val="180"/>
                <c:pt idx="88">
                  <c:v>4.3</c:v>
                </c:pt>
                <c:pt idx="89">
                  <c:v>4.3</c:v>
                </c:pt>
                <c:pt idx="90">
                  <c:v>6.5</c:v>
                </c:pt>
                <c:pt idx="91">
                  <c:v>12.5</c:v>
                </c:pt>
                <c:pt idx="92">
                  <c:v>16</c:v>
                </c:pt>
                <c:pt idx="93">
                  <c:v>16.399999999999999</c:v>
                </c:pt>
                <c:pt idx="94">
                  <c:v>18</c:v>
                </c:pt>
                <c:pt idx="95">
                  <c:v>13.5</c:v>
                </c:pt>
                <c:pt idx="96">
                  <c:v>1.4</c:v>
                </c:pt>
                <c:pt idx="97">
                  <c:v>7.5</c:v>
                </c:pt>
                <c:pt idx="98">
                  <c:v>20</c:v>
                </c:pt>
                <c:pt idx="99">
                  <c:v>3.5</c:v>
                </c:pt>
                <c:pt idx="100">
                  <c:v>16.399999999999999</c:v>
                </c:pt>
                <c:pt idx="101">
                  <c:v>17</c:v>
                </c:pt>
                <c:pt idx="102">
                  <c:v>2.1</c:v>
                </c:pt>
                <c:pt idx="103">
                  <c:v>6</c:v>
                </c:pt>
                <c:pt idx="104">
                  <c:v>13</c:v>
                </c:pt>
                <c:pt idx="105">
                  <c:v>4</c:v>
                </c:pt>
                <c:pt idx="106">
                  <c:v>14</c:v>
                </c:pt>
                <c:pt idx="107">
                  <c:v>2.5</c:v>
                </c:pt>
                <c:pt idx="108">
                  <c:v>1.5</c:v>
                </c:pt>
                <c:pt idx="109">
                  <c:v>15</c:v>
                </c:pt>
                <c:pt idx="110">
                  <c:v>5.7</c:v>
                </c:pt>
                <c:pt idx="111">
                  <c:v>17.100000000000001</c:v>
                </c:pt>
                <c:pt idx="112">
                  <c:v>18</c:v>
                </c:pt>
                <c:pt idx="113">
                  <c:v>18.600000000000001</c:v>
                </c:pt>
                <c:pt idx="114">
                  <c:v>5</c:v>
                </c:pt>
                <c:pt idx="115">
                  <c:v>1.5</c:v>
                </c:pt>
                <c:pt idx="116">
                  <c:v>7</c:v>
                </c:pt>
                <c:pt idx="117">
                  <c:v>12.5</c:v>
                </c:pt>
                <c:pt idx="118">
                  <c:v>4.5</c:v>
                </c:pt>
                <c:pt idx="119">
                  <c:v>4</c:v>
                </c:pt>
                <c:pt idx="120">
                  <c:v>18</c:v>
                </c:pt>
                <c:pt idx="121">
                  <c:v>9.5</c:v>
                </c:pt>
                <c:pt idx="122">
                  <c:v>5.5</c:v>
                </c:pt>
                <c:pt idx="123">
                  <c:v>15.5</c:v>
                </c:pt>
                <c:pt idx="124">
                  <c:v>18</c:v>
                </c:pt>
                <c:pt idx="125">
                  <c:v>5</c:v>
                </c:pt>
                <c:pt idx="126">
                  <c:v>13.5</c:v>
                </c:pt>
                <c:pt idx="127">
                  <c:v>2.5</c:v>
                </c:pt>
                <c:pt idx="128">
                  <c:v>14.5</c:v>
                </c:pt>
                <c:pt idx="129">
                  <c:v>7.5</c:v>
                </c:pt>
                <c:pt idx="130">
                  <c:v>12.5</c:v>
                </c:pt>
                <c:pt idx="131">
                  <c:v>4</c:v>
                </c:pt>
                <c:pt idx="132">
                  <c:v>14</c:v>
                </c:pt>
                <c:pt idx="133">
                  <c:v>14</c:v>
                </c:pt>
                <c:pt idx="134">
                  <c:v>14.3</c:v>
                </c:pt>
              </c:numCache>
            </c:numRef>
          </c:xVal>
          <c:yVal>
            <c:numRef>
              <c:f>Sheet1!$D$1:$D$180</c:f>
              <c:numCache>
                <c:formatCode>General</c:formatCode>
                <c:ptCount val="180"/>
                <c:pt idx="88">
                  <c:v>2.2000000000000002</c:v>
                </c:pt>
                <c:pt idx="89">
                  <c:v>1.4</c:v>
                </c:pt>
                <c:pt idx="90">
                  <c:v>1.2</c:v>
                </c:pt>
                <c:pt idx="91">
                  <c:v>1.2</c:v>
                </c:pt>
                <c:pt idx="92">
                  <c:v>3.4</c:v>
                </c:pt>
                <c:pt idx="93">
                  <c:v>1.8</c:v>
                </c:pt>
                <c:pt idx="94">
                  <c:v>1.2</c:v>
                </c:pt>
                <c:pt idx="95">
                  <c:v>3.8</c:v>
                </c:pt>
                <c:pt idx="96">
                  <c:v>0.6</c:v>
                </c:pt>
                <c:pt idx="97">
                  <c:v>1.4</c:v>
                </c:pt>
                <c:pt idx="98">
                  <c:v>1.2</c:v>
                </c:pt>
                <c:pt idx="99">
                  <c:v>2.2000000000000002</c:v>
                </c:pt>
                <c:pt idx="100">
                  <c:v>1.6</c:v>
                </c:pt>
                <c:pt idx="101">
                  <c:v>3.4</c:v>
                </c:pt>
                <c:pt idx="102">
                  <c:v>3.4</c:v>
                </c:pt>
                <c:pt idx="103">
                  <c:v>1.2</c:v>
                </c:pt>
                <c:pt idx="104">
                  <c:v>1.2</c:v>
                </c:pt>
                <c:pt idx="105">
                  <c:v>3.4</c:v>
                </c:pt>
                <c:pt idx="106">
                  <c:v>3.6</c:v>
                </c:pt>
                <c:pt idx="107">
                  <c:v>2.1</c:v>
                </c:pt>
                <c:pt idx="108">
                  <c:v>1.2</c:v>
                </c:pt>
                <c:pt idx="109">
                  <c:v>1.2</c:v>
                </c:pt>
                <c:pt idx="110">
                  <c:v>1.2</c:v>
                </c:pt>
                <c:pt idx="111">
                  <c:v>1.4</c:v>
                </c:pt>
                <c:pt idx="112">
                  <c:v>1.2</c:v>
                </c:pt>
                <c:pt idx="113">
                  <c:v>1.8</c:v>
                </c:pt>
                <c:pt idx="114">
                  <c:v>1.2</c:v>
                </c:pt>
                <c:pt idx="115">
                  <c:v>1.2</c:v>
                </c:pt>
                <c:pt idx="116">
                  <c:v>1.2</c:v>
                </c:pt>
                <c:pt idx="117">
                  <c:v>1.4</c:v>
                </c:pt>
                <c:pt idx="118">
                  <c:v>4.0999999999999996</c:v>
                </c:pt>
                <c:pt idx="119">
                  <c:v>1.4</c:v>
                </c:pt>
                <c:pt idx="120">
                  <c:v>3.6</c:v>
                </c:pt>
                <c:pt idx="121">
                  <c:v>1.2</c:v>
                </c:pt>
                <c:pt idx="122">
                  <c:v>1.8</c:v>
                </c:pt>
                <c:pt idx="123">
                  <c:v>1.2</c:v>
                </c:pt>
                <c:pt idx="124">
                  <c:v>1.4</c:v>
                </c:pt>
                <c:pt idx="125">
                  <c:v>3.8</c:v>
                </c:pt>
                <c:pt idx="126">
                  <c:v>1.2</c:v>
                </c:pt>
                <c:pt idx="127">
                  <c:v>3.2</c:v>
                </c:pt>
                <c:pt idx="128">
                  <c:v>1.6</c:v>
                </c:pt>
                <c:pt idx="129">
                  <c:v>1.2</c:v>
                </c:pt>
                <c:pt idx="130">
                  <c:v>1.2</c:v>
                </c:pt>
                <c:pt idx="131">
                  <c:v>4.0999999999999996</c:v>
                </c:pt>
                <c:pt idx="132">
                  <c:v>4.0999999999999996</c:v>
                </c:pt>
                <c:pt idx="133">
                  <c:v>3.2</c:v>
                </c:pt>
                <c:pt idx="134">
                  <c:v>1.8</c:v>
                </c:pt>
              </c:numCache>
            </c:numRef>
          </c:yVal>
          <c:bubbleSize>
            <c:numRef>
              <c:f>Sheet1!$E$1:$E$180</c:f>
              <c:numCache>
                <c:formatCode>General</c:formatCode>
                <c:ptCount val="180"/>
                <c:pt idx="88">
                  <c:v>4581</c:v>
                </c:pt>
                <c:pt idx="89">
                  <c:v>9646</c:v>
                </c:pt>
                <c:pt idx="90">
                  <c:v>3811</c:v>
                </c:pt>
                <c:pt idx="91">
                  <c:v>5324</c:v>
                </c:pt>
                <c:pt idx="92">
                  <c:v>801</c:v>
                </c:pt>
                <c:pt idx="93">
                  <c:v>8364</c:v>
                </c:pt>
                <c:pt idx="94">
                  <c:v>2775</c:v>
                </c:pt>
                <c:pt idx="95">
                  <c:v>20421</c:v>
                </c:pt>
                <c:pt idx="96">
                  <c:v>6227</c:v>
                </c:pt>
                <c:pt idx="97">
                  <c:v>5167</c:v>
                </c:pt>
                <c:pt idx="98">
                  <c:v>6018</c:v>
                </c:pt>
                <c:pt idx="99">
                  <c:v>8508</c:v>
                </c:pt>
                <c:pt idx="100">
                  <c:v>2225</c:v>
                </c:pt>
                <c:pt idx="101">
                  <c:v>1737</c:v>
                </c:pt>
                <c:pt idx="102">
                  <c:v>810</c:v>
                </c:pt>
                <c:pt idx="103">
                  <c:v>1174</c:v>
                </c:pt>
                <c:pt idx="104">
                  <c:v>3301</c:v>
                </c:pt>
                <c:pt idx="105">
                  <c:v>5340</c:v>
                </c:pt>
                <c:pt idx="106">
                  <c:v>13378</c:v>
                </c:pt>
                <c:pt idx="107">
                  <c:v>5916</c:v>
                </c:pt>
                <c:pt idx="108">
                  <c:v>12381</c:v>
                </c:pt>
                <c:pt idx="109">
                  <c:v>2166</c:v>
                </c:pt>
                <c:pt idx="110">
                  <c:v>1519</c:v>
                </c:pt>
                <c:pt idx="111">
                  <c:v>6564</c:v>
                </c:pt>
                <c:pt idx="112">
                  <c:v>1446</c:v>
                </c:pt>
                <c:pt idx="113">
                  <c:v>620</c:v>
                </c:pt>
                <c:pt idx="114">
                  <c:v>4718</c:v>
                </c:pt>
                <c:pt idx="115">
                  <c:v>4045</c:v>
                </c:pt>
                <c:pt idx="116">
                  <c:v>3692</c:v>
                </c:pt>
                <c:pt idx="117">
                  <c:v>1247</c:v>
                </c:pt>
                <c:pt idx="118">
                  <c:v>27314</c:v>
                </c:pt>
                <c:pt idx="119">
                  <c:v>8478</c:v>
                </c:pt>
                <c:pt idx="120">
                  <c:v>4796</c:v>
                </c:pt>
                <c:pt idx="121">
                  <c:v>1172</c:v>
                </c:pt>
                <c:pt idx="122">
                  <c:v>13511</c:v>
                </c:pt>
                <c:pt idx="123">
                  <c:v>7046</c:v>
                </c:pt>
                <c:pt idx="124">
                  <c:v>2705</c:v>
                </c:pt>
                <c:pt idx="125">
                  <c:v>16313</c:v>
                </c:pt>
                <c:pt idx="126">
                  <c:v>1523</c:v>
                </c:pt>
                <c:pt idx="127">
                  <c:v>4418</c:v>
                </c:pt>
                <c:pt idx="128">
                  <c:v>12817</c:v>
                </c:pt>
                <c:pt idx="129">
                  <c:v>1330</c:v>
                </c:pt>
                <c:pt idx="130">
                  <c:v>2169</c:v>
                </c:pt>
                <c:pt idx="131">
                  <c:v>11642</c:v>
                </c:pt>
                <c:pt idx="132">
                  <c:v>11475</c:v>
                </c:pt>
                <c:pt idx="133">
                  <c:v>7718</c:v>
                </c:pt>
                <c:pt idx="134">
                  <c:v>1958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2180-4D3C-A4A6-90E0A0287C07}"/>
            </c:ext>
          </c:extLst>
        </c:ser>
        <c:ser>
          <c:idx val="2"/>
          <c:order val="2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80</c:f>
              <c:numCache>
                <c:formatCode>General</c:formatCode>
                <c:ptCount val="180"/>
                <c:pt idx="135">
                  <c:v>17</c:v>
                </c:pt>
                <c:pt idx="136">
                  <c:v>2</c:v>
                </c:pt>
                <c:pt idx="137">
                  <c:v>17.5</c:v>
                </c:pt>
                <c:pt idx="138">
                  <c:v>14.5</c:v>
                </c:pt>
                <c:pt idx="139">
                  <c:v>2</c:v>
                </c:pt>
                <c:pt idx="140">
                  <c:v>17.100000000000001</c:v>
                </c:pt>
                <c:pt idx="141">
                  <c:v>17.5</c:v>
                </c:pt>
                <c:pt idx="142">
                  <c:v>4</c:v>
                </c:pt>
                <c:pt idx="143">
                  <c:v>20</c:v>
                </c:pt>
                <c:pt idx="144">
                  <c:v>17</c:v>
                </c:pt>
                <c:pt idx="145">
                  <c:v>1.5</c:v>
                </c:pt>
                <c:pt idx="146">
                  <c:v>2.9</c:v>
                </c:pt>
                <c:pt idx="147">
                  <c:v>5.5</c:v>
                </c:pt>
                <c:pt idx="148">
                  <c:v>12.5</c:v>
                </c:pt>
                <c:pt idx="149">
                  <c:v>7</c:v>
                </c:pt>
                <c:pt idx="150">
                  <c:v>4</c:v>
                </c:pt>
                <c:pt idx="151">
                  <c:v>5.7</c:v>
                </c:pt>
                <c:pt idx="152">
                  <c:v>15</c:v>
                </c:pt>
                <c:pt idx="153">
                  <c:v>4</c:v>
                </c:pt>
                <c:pt idx="154">
                  <c:v>15.7</c:v>
                </c:pt>
                <c:pt idx="155">
                  <c:v>14</c:v>
                </c:pt>
                <c:pt idx="156">
                  <c:v>18</c:v>
                </c:pt>
                <c:pt idx="157">
                  <c:v>2</c:v>
                </c:pt>
                <c:pt idx="158">
                  <c:v>3.5</c:v>
                </c:pt>
                <c:pt idx="159">
                  <c:v>4</c:v>
                </c:pt>
                <c:pt idx="160">
                  <c:v>3.5</c:v>
                </c:pt>
                <c:pt idx="161">
                  <c:v>4</c:v>
                </c:pt>
                <c:pt idx="162">
                  <c:v>17.100000000000001</c:v>
                </c:pt>
              </c:numCache>
            </c:numRef>
          </c:xVal>
          <c:yVal>
            <c:numRef>
              <c:f>Sheet1!$F$1:$F$180</c:f>
              <c:numCache>
                <c:formatCode>General</c:formatCode>
                <c:ptCount val="180"/>
                <c:pt idx="135">
                  <c:v>1.2</c:v>
                </c:pt>
                <c:pt idx="136">
                  <c:v>1.2</c:v>
                </c:pt>
                <c:pt idx="137">
                  <c:v>1.2</c:v>
                </c:pt>
                <c:pt idx="138">
                  <c:v>3.8</c:v>
                </c:pt>
                <c:pt idx="139">
                  <c:v>1.2</c:v>
                </c:pt>
                <c:pt idx="140">
                  <c:v>1.6</c:v>
                </c:pt>
                <c:pt idx="141">
                  <c:v>1.2</c:v>
                </c:pt>
                <c:pt idx="142">
                  <c:v>1.2</c:v>
                </c:pt>
                <c:pt idx="143">
                  <c:v>1.2</c:v>
                </c:pt>
                <c:pt idx="144">
                  <c:v>1.6</c:v>
                </c:pt>
                <c:pt idx="145">
                  <c:v>1.2</c:v>
                </c:pt>
                <c:pt idx="146">
                  <c:v>2.1</c:v>
                </c:pt>
                <c:pt idx="147">
                  <c:v>1.2</c:v>
                </c:pt>
                <c:pt idx="148">
                  <c:v>1.4</c:v>
                </c:pt>
                <c:pt idx="149">
                  <c:v>1.2</c:v>
                </c:pt>
                <c:pt idx="150">
                  <c:v>4.0999999999999996</c:v>
                </c:pt>
                <c:pt idx="151">
                  <c:v>1.2</c:v>
                </c:pt>
                <c:pt idx="152">
                  <c:v>1.6</c:v>
                </c:pt>
                <c:pt idx="153">
                  <c:v>1.2</c:v>
                </c:pt>
                <c:pt idx="154">
                  <c:v>1.2</c:v>
                </c:pt>
                <c:pt idx="155">
                  <c:v>1.4</c:v>
                </c:pt>
                <c:pt idx="156">
                  <c:v>1.4</c:v>
                </c:pt>
                <c:pt idx="157">
                  <c:v>1.2</c:v>
                </c:pt>
                <c:pt idx="158">
                  <c:v>1.2</c:v>
                </c:pt>
                <c:pt idx="159">
                  <c:v>1.4</c:v>
                </c:pt>
                <c:pt idx="160">
                  <c:v>1.4</c:v>
                </c:pt>
                <c:pt idx="161">
                  <c:v>1.4</c:v>
                </c:pt>
                <c:pt idx="162">
                  <c:v>1.2</c:v>
                </c:pt>
              </c:numCache>
            </c:numRef>
          </c:yVal>
          <c:bubbleSize>
            <c:numRef>
              <c:f>Sheet1!$G$1:$G$180</c:f>
              <c:numCache>
                <c:formatCode>General</c:formatCode>
                <c:ptCount val="180"/>
                <c:pt idx="135">
                  <c:v>3754</c:v>
                </c:pt>
                <c:pt idx="136">
                  <c:v>6151</c:v>
                </c:pt>
                <c:pt idx="137">
                  <c:v>6558</c:v>
                </c:pt>
                <c:pt idx="138">
                  <c:v>4006</c:v>
                </c:pt>
                <c:pt idx="139">
                  <c:v>2238</c:v>
                </c:pt>
                <c:pt idx="140">
                  <c:v>3132</c:v>
                </c:pt>
                <c:pt idx="141">
                  <c:v>1262</c:v>
                </c:pt>
                <c:pt idx="142">
                  <c:v>8387</c:v>
                </c:pt>
                <c:pt idx="143">
                  <c:v>787</c:v>
                </c:pt>
                <c:pt idx="144">
                  <c:v>616</c:v>
                </c:pt>
                <c:pt idx="145">
                  <c:v>1862</c:v>
                </c:pt>
                <c:pt idx="146">
                  <c:v>5122</c:v>
                </c:pt>
                <c:pt idx="147">
                  <c:v>1435</c:v>
                </c:pt>
                <c:pt idx="148">
                  <c:v>1205</c:v>
                </c:pt>
                <c:pt idx="149">
                  <c:v>2144</c:v>
                </c:pt>
                <c:pt idx="150">
                  <c:v>2941</c:v>
                </c:pt>
                <c:pt idx="151">
                  <c:v>807</c:v>
                </c:pt>
                <c:pt idx="152">
                  <c:v>10676</c:v>
                </c:pt>
                <c:pt idx="153">
                  <c:v>6880</c:v>
                </c:pt>
                <c:pt idx="154">
                  <c:v>4965</c:v>
                </c:pt>
                <c:pt idx="155">
                  <c:v>8282</c:v>
                </c:pt>
                <c:pt idx="156">
                  <c:v>699</c:v>
                </c:pt>
                <c:pt idx="157">
                  <c:v>794</c:v>
                </c:pt>
                <c:pt idx="158">
                  <c:v>6604</c:v>
                </c:pt>
                <c:pt idx="159">
                  <c:v>4029</c:v>
                </c:pt>
                <c:pt idx="160">
                  <c:v>6411</c:v>
                </c:pt>
                <c:pt idx="161">
                  <c:v>1640</c:v>
                </c:pt>
                <c:pt idx="162">
                  <c:v>618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2-2180-4D3C-A4A6-90E0A0287C07}"/>
            </c:ext>
          </c:extLst>
        </c:ser>
        <c:ser>
          <c:idx val="3"/>
          <c:order val="3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80</c:f>
              <c:numCache>
                <c:formatCode>General</c:formatCode>
                <c:ptCount val="180"/>
                <c:pt idx="163">
                  <c:v>13.5</c:v>
                </c:pt>
                <c:pt idx="164">
                  <c:v>4.5</c:v>
                </c:pt>
                <c:pt idx="165">
                  <c:v>4.3</c:v>
                </c:pt>
                <c:pt idx="166">
                  <c:v>4.5</c:v>
                </c:pt>
                <c:pt idx="167">
                  <c:v>15.5</c:v>
                </c:pt>
                <c:pt idx="168">
                  <c:v>14</c:v>
                </c:pt>
                <c:pt idx="169">
                  <c:v>3.6</c:v>
                </c:pt>
                <c:pt idx="170">
                  <c:v>16</c:v>
                </c:pt>
                <c:pt idx="171">
                  <c:v>4</c:v>
                </c:pt>
                <c:pt idx="172">
                  <c:v>15.5</c:v>
                </c:pt>
                <c:pt idx="173">
                  <c:v>4</c:v>
                </c:pt>
                <c:pt idx="174">
                  <c:v>14</c:v>
                </c:pt>
              </c:numCache>
            </c:numRef>
          </c:xVal>
          <c:yVal>
            <c:numRef>
              <c:f>Sheet1!$H$1:$H$180</c:f>
              <c:numCache>
                <c:formatCode>General</c:formatCode>
                <c:ptCount val="180"/>
                <c:pt idx="163">
                  <c:v>1.6</c:v>
                </c:pt>
                <c:pt idx="164">
                  <c:v>1.2</c:v>
                </c:pt>
                <c:pt idx="165">
                  <c:v>1.2</c:v>
                </c:pt>
                <c:pt idx="166">
                  <c:v>1.2</c:v>
                </c:pt>
                <c:pt idx="167">
                  <c:v>1.2</c:v>
                </c:pt>
                <c:pt idx="168">
                  <c:v>1.2</c:v>
                </c:pt>
                <c:pt idx="169">
                  <c:v>1.1000000000000001</c:v>
                </c:pt>
                <c:pt idx="170">
                  <c:v>1.4</c:v>
                </c:pt>
                <c:pt idx="171">
                  <c:v>1.2</c:v>
                </c:pt>
                <c:pt idx="172">
                  <c:v>1.2</c:v>
                </c:pt>
                <c:pt idx="173">
                  <c:v>1.2</c:v>
                </c:pt>
                <c:pt idx="174">
                  <c:v>1.2</c:v>
                </c:pt>
              </c:numCache>
            </c:numRef>
          </c:yVal>
          <c:bubbleSize>
            <c:numRef>
              <c:f>Sheet1!$I$1:$I$180</c:f>
              <c:numCache>
                <c:formatCode>General</c:formatCode>
                <c:ptCount val="180"/>
                <c:pt idx="163">
                  <c:v>7807</c:v>
                </c:pt>
                <c:pt idx="164">
                  <c:v>4450</c:v>
                </c:pt>
                <c:pt idx="165">
                  <c:v>591</c:v>
                </c:pt>
                <c:pt idx="166">
                  <c:v>907</c:v>
                </c:pt>
                <c:pt idx="167">
                  <c:v>2525</c:v>
                </c:pt>
                <c:pt idx="168">
                  <c:v>3357</c:v>
                </c:pt>
                <c:pt idx="169">
                  <c:v>538</c:v>
                </c:pt>
                <c:pt idx="170">
                  <c:v>4565</c:v>
                </c:pt>
                <c:pt idx="171">
                  <c:v>1578</c:v>
                </c:pt>
                <c:pt idx="172">
                  <c:v>1492</c:v>
                </c:pt>
                <c:pt idx="173">
                  <c:v>943</c:v>
                </c:pt>
                <c:pt idx="174">
                  <c:v>250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3-2180-4D3C-A4A6-90E0A0287C07}"/>
            </c:ext>
          </c:extLst>
        </c:ser>
        <c:ser>
          <c:idx val="4"/>
          <c:order val="4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80</c:f>
              <c:numCache>
                <c:formatCode>General</c:formatCode>
                <c:ptCount val="180"/>
                <c:pt idx="175">
                  <c:v>4</c:v>
                </c:pt>
                <c:pt idx="176">
                  <c:v>14</c:v>
                </c:pt>
              </c:numCache>
            </c:numRef>
          </c:xVal>
          <c:yVal>
            <c:numRef>
              <c:f>Sheet1!$J$1:$J$180</c:f>
              <c:numCache>
                <c:formatCode>General</c:formatCode>
                <c:ptCount val="180"/>
                <c:pt idx="175">
                  <c:v>1.2</c:v>
                </c:pt>
                <c:pt idx="176">
                  <c:v>1.2</c:v>
                </c:pt>
              </c:numCache>
            </c:numRef>
          </c:yVal>
          <c:bubbleSize>
            <c:numRef>
              <c:f>Sheet1!$K$1:$K$180</c:f>
              <c:numCache>
                <c:formatCode>General</c:formatCode>
                <c:ptCount val="180"/>
                <c:pt idx="175">
                  <c:v>771</c:v>
                </c:pt>
                <c:pt idx="176">
                  <c:v>2136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4-2180-4D3C-A4A6-90E0A0287C07}"/>
            </c:ext>
          </c:extLst>
        </c:ser>
        <c:ser>
          <c:idx val="5"/>
          <c:order val="5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80</c:f>
              <c:numCache>
                <c:formatCode>General</c:formatCode>
                <c:ptCount val="180"/>
                <c:pt idx="177">
                  <c:v>14</c:v>
                </c:pt>
              </c:numCache>
            </c:numRef>
          </c:xVal>
          <c:yVal>
            <c:numRef>
              <c:f>Sheet1!$L$1:$L$180</c:f>
              <c:numCache>
                <c:formatCode>General</c:formatCode>
                <c:ptCount val="180"/>
                <c:pt idx="177">
                  <c:v>1.2</c:v>
                </c:pt>
              </c:numCache>
            </c:numRef>
          </c:yVal>
          <c:bubbleSize>
            <c:numRef>
              <c:f>Sheet1!$M$1:$M$180</c:f>
              <c:numCache>
                <c:formatCode>General</c:formatCode>
                <c:ptCount val="180"/>
                <c:pt idx="177">
                  <c:v>2044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5-2180-4D3C-A4A6-90E0A0287C07}"/>
            </c:ext>
          </c:extLst>
        </c:ser>
        <c:ser>
          <c:idx val="6"/>
          <c:order val="6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80</c:f>
              <c:numCache>
                <c:formatCode>General</c:formatCode>
                <c:ptCount val="180"/>
                <c:pt idx="178">
                  <c:v>14</c:v>
                </c:pt>
              </c:numCache>
            </c:numRef>
          </c:xVal>
          <c:yVal>
            <c:numRef>
              <c:f>Sheet1!$N$1:$N$180</c:f>
              <c:numCache>
                <c:formatCode>General</c:formatCode>
                <c:ptCount val="180"/>
                <c:pt idx="178">
                  <c:v>1.2</c:v>
                </c:pt>
              </c:numCache>
            </c:numRef>
          </c:yVal>
          <c:bubbleSize>
            <c:numRef>
              <c:f>Sheet1!$O$1:$O$180</c:f>
              <c:numCache>
                <c:formatCode>General</c:formatCode>
                <c:ptCount val="180"/>
                <c:pt idx="178">
                  <c:v>1199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6-2180-4D3C-A4A6-90E0A0287C07}"/>
            </c:ext>
          </c:extLst>
        </c:ser>
        <c:ser>
          <c:idx val="7"/>
          <c:order val="7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80</c:f>
              <c:numCache>
                <c:formatCode>General</c:formatCode>
                <c:ptCount val="180"/>
                <c:pt idx="179">
                  <c:v>14</c:v>
                </c:pt>
              </c:numCache>
            </c:numRef>
          </c:xVal>
          <c:yVal>
            <c:numRef>
              <c:f>Sheet1!$P$1:$P$180</c:f>
              <c:numCache>
                <c:formatCode>General</c:formatCode>
                <c:ptCount val="180"/>
                <c:pt idx="179">
                  <c:v>1.2</c:v>
                </c:pt>
              </c:numCache>
            </c:numRef>
          </c:yVal>
          <c:bubbleSize>
            <c:numRef>
              <c:f>Sheet1!$Q$1:$Q$180</c:f>
              <c:numCache>
                <c:formatCode>General</c:formatCode>
                <c:ptCount val="180"/>
                <c:pt idx="179">
                  <c:v>903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7-2180-4D3C-A4A6-90E0A0287C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9"/>
        <c:showNegBubbles val="0"/>
        <c:axId val="278125520"/>
        <c:axId val="1"/>
      </c:bubbleChart>
      <c:valAx>
        <c:axId val="278125520"/>
        <c:scaling>
          <c:orientation val="minMax"/>
          <c:max val="2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278125520"/>
        <c:crosses val="min"/>
        <c:crossBetween val="midCat"/>
      </c:valAx>
      <c:spPr>
        <a:noFill/>
        <a:ln w="9525" cmpd="sng" algn="ctr">
          <a:solidFill>
            <a:srgbClr val="000000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7D0C95-E343-43D9-B72B-D0201742EC75}" type="datetimeFigureOut">
              <a:rPr lang="en-US" smtClean="0"/>
              <a:t>7/2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72761D-3203-4508-AB5B-4C194F0832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311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ACAB98A6-7761-4E4D-83FC-6D1D2506D4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20101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input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notesSlide" Target="../notesSlides/notesSlide1.xml"/><Relationship Id="rId50" Type="http://schemas.openxmlformats.org/officeDocument/2006/relationships/chart" Target="../charts/chart1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image" Target="../media/image5.emf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oleObject" Target="../embeddings/oleObject2.bin"/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slideLayout" Target="../slideLayouts/slideLayout2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1" Type="http://schemas.openxmlformats.org/officeDocument/2006/relationships/tags" Target="../tags/tag3.xml"/><Relationship Id="rId6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think-cell data - do not delete" hidden="1">
            <a:extLst>
              <a:ext uri="{FF2B5EF4-FFF2-40B4-BE49-F238E27FC236}">
                <a16:creationId xmlns:a16="http://schemas.microsoft.com/office/drawing/2014/main" id="{C50862E0-0C45-201F-5E59-26FAF4A396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5528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592" imgH="595" progId="TCLayout.ActiveDocument.1">
                  <p:embed/>
                </p:oleObj>
              </mc:Choice>
              <mc:Fallback>
                <p:oleObj name="think-cell Slide" r:id="rId48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btfpColumnIndicatorGroup2">
            <a:extLst>
              <a:ext uri="{FF2B5EF4-FFF2-40B4-BE49-F238E27FC236}">
                <a16:creationId xmlns:a16="http://schemas.microsoft.com/office/drawing/2014/main" id="{5C15F467-D010-4602-AC5F-D8DD1A8B1ED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8" name="btfpColumnGapBlocker494880">
              <a:extLst>
                <a:ext uri="{FF2B5EF4-FFF2-40B4-BE49-F238E27FC236}">
                  <a16:creationId xmlns:a16="http://schemas.microsoft.com/office/drawing/2014/main" id="{A23FB7C8-7F45-4DFD-80CC-3F46736BE77D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btfpColumnGapBlocker483646">
              <a:extLst>
                <a:ext uri="{FF2B5EF4-FFF2-40B4-BE49-F238E27FC236}">
                  <a16:creationId xmlns:a16="http://schemas.microsoft.com/office/drawing/2014/main" id="{957FA5C7-A87E-450A-97D2-D9D28B2F9B7D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4" name="btfpColumnIndicator850210">
              <a:extLst>
                <a:ext uri="{FF2B5EF4-FFF2-40B4-BE49-F238E27FC236}">
                  <a16:creationId xmlns:a16="http://schemas.microsoft.com/office/drawing/2014/main" id="{478B6F67-8618-4C7F-A0D5-B4003CDE300D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360273">
              <a:extLst>
                <a:ext uri="{FF2B5EF4-FFF2-40B4-BE49-F238E27FC236}">
                  <a16:creationId xmlns:a16="http://schemas.microsoft.com/office/drawing/2014/main" id="{CFD08CD3-F426-4F9D-800F-94DE6ADA6DDD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btfpColumnGapBlocker676224">
              <a:extLst>
                <a:ext uri="{FF2B5EF4-FFF2-40B4-BE49-F238E27FC236}">
                  <a16:creationId xmlns:a16="http://schemas.microsoft.com/office/drawing/2014/main" id="{6FA51C57-234B-4906-8D04-63E813F40096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3" name="btfpColumnIndicator944403">
              <a:extLst>
                <a:ext uri="{FF2B5EF4-FFF2-40B4-BE49-F238E27FC236}">
                  <a16:creationId xmlns:a16="http://schemas.microsoft.com/office/drawing/2014/main" id="{1B4910AB-D3E8-48ED-888D-30345F10B79A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375069">
              <a:extLst>
                <a:ext uri="{FF2B5EF4-FFF2-40B4-BE49-F238E27FC236}">
                  <a16:creationId xmlns:a16="http://schemas.microsoft.com/office/drawing/2014/main" id="{B87D052C-B5A6-46C7-996B-701586173291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btfpColumnIndicatorGroup1">
            <a:extLst>
              <a:ext uri="{FF2B5EF4-FFF2-40B4-BE49-F238E27FC236}">
                <a16:creationId xmlns:a16="http://schemas.microsoft.com/office/drawing/2014/main" id="{A784A019-59B3-42EC-B894-517067AC132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7" name="btfpColumnGapBlocker154652">
              <a:extLst>
                <a:ext uri="{FF2B5EF4-FFF2-40B4-BE49-F238E27FC236}">
                  <a16:creationId xmlns:a16="http://schemas.microsoft.com/office/drawing/2014/main" id="{0ADC2B16-6977-43A6-B5CB-077C7586760A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btfpColumnGapBlocker188540">
              <a:extLst>
                <a:ext uri="{FF2B5EF4-FFF2-40B4-BE49-F238E27FC236}">
                  <a16:creationId xmlns:a16="http://schemas.microsoft.com/office/drawing/2014/main" id="{3A09073A-B834-4F7D-86FC-161566D3F351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2" name="btfpColumnIndicator161819">
              <a:extLst>
                <a:ext uri="{FF2B5EF4-FFF2-40B4-BE49-F238E27FC236}">
                  <a16:creationId xmlns:a16="http://schemas.microsoft.com/office/drawing/2014/main" id="{1FEDEB70-763F-43E6-A824-1260DE342603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btfpColumnIndicator609859">
              <a:extLst>
                <a:ext uri="{FF2B5EF4-FFF2-40B4-BE49-F238E27FC236}">
                  <a16:creationId xmlns:a16="http://schemas.microsoft.com/office/drawing/2014/main" id="{F367F34E-FC84-48D3-A430-768B17F14620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btfpColumnGapBlocker804212">
              <a:extLst>
                <a:ext uri="{FF2B5EF4-FFF2-40B4-BE49-F238E27FC236}">
                  <a16:creationId xmlns:a16="http://schemas.microsoft.com/office/drawing/2014/main" id="{D7D05353-76F2-4B95-8D1D-42F07934618C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" name="btfpColumnIndicator745003">
              <a:extLst>
                <a:ext uri="{FF2B5EF4-FFF2-40B4-BE49-F238E27FC236}">
                  <a16:creationId xmlns:a16="http://schemas.microsoft.com/office/drawing/2014/main" id="{F4C36095-C101-4ECC-B658-CF8100E475A0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319505">
              <a:extLst>
                <a:ext uri="{FF2B5EF4-FFF2-40B4-BE49-F238E27FC236}">
                  <a16:creationId xmlns:a16="http://schemas.microsoft.com/office/drawing/2014/main" id="{D4A4BD2F-E00B-4124-BB23-A60C66AF7897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Partial Circle 22">
            <a:extLst>
              <a:ext uri="{FF2B5EF4-FFF2-40B4-BE49-F238E27FC236}">
                <a16:creationId xmlns:a16="http://schemas.microsoft.com/office/drawing/2014/main" id="{904097F7-4F2B-43BF-9A28-93FF9ADD3E18}"/>
              </a:ext>
            </a:extLst>
          </p:cNvPr>
          <p:cNvSpPr/>
          <p:nvPr/>
        </p:nvSpPr>
        <p:spPr bwMode="gray">
          <a:xfrm flipH="1" flipV="1">
            <a:off x="4787421" y="-2481259"/>
            <a:ext cx="13978634" cy="7643800"/>
          </a:xfrm>
          <a:prstGeom prst="pie">
            <a:avLst>
              <a:gd name="adj1" fmla="val 16213629"/>
              <a:gd name="adj2" fmla="val 21592876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Partial Circle 78">
            <a:extLst>
              <a:ext uri="{FF2B5EF4-FFF2-40B4-BE49-F238E27FC236}">
                <a16:creationId xmlns:a16="http://schemas.microsoft.com/office/drawing/2014/main" id="{4232F778-5584-42CF-888A-EA49358E1A45}"/>
              </a:ext>
            </a:extLst>
          </p:cNvPr>
          <p:cNvSpPr/>
          <p:nvPr/>
        </p:nvSpPr>
        <p:spPr bwMode="gray">
          <a:xfrm flipH="1" flipV="1">
            <a:off x="5467350" y="-1788888"/>
            <a:ext cx="12610448" cy="6259060"/>
          </a:xfrm>
          <a:prstGeom prst="pie">
            <a:avLst>
              <a:gd name="adj1" fmla="val 16213629"/>
              <a:gd name="adj2" fmla="val 21592876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Partial Circle 34">
            <a:extLst>
              <a:ext uri="{FF2B5EF4-FFF2-40B4-BE49-F238E27FC236}">
                <a16:creationId xmlns:a16="http://schemas.microsoft.com/office/drawing/2014/main" id="{77DCFDF6-9B49-4AA2-82DD-24CAEE6CE380}"/>
              </a:ext>
            </a:extLst>
          </p:cNvPr>
          <p:cNvSpPr/>
          <p:nvPr/>
        </p:nvSpPr>
        <p:spPr bwMode="gray">
          <a:xfrm flipH="1" flipV="1">
            <a:off x="6472185" y="-1010113"/>
            <a:ext cx="10593374" cy="4720572"/>
          </a:xfrm>
          <a:prstGeom prst="pie">
            <a:avLst>
              <a:gd name="adj1" fmla="val 16201139"/>
              <a:gd name="adj2" fmla="val 1154"/>
            </a:avLst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C82FBC9-A205-4684-AD25-C5F7BBDB3B96}"/>
              </a:ext>
            </a:extLst>
          </p:cNvPr>
          <p:cNvSpPr txBox="1"/>
          <p:nvPr/>
        </p:nvSpPr>
        <p:spPr bwMode="gray">
          <a:xfrm>
            <a:off x="4018680" y="6190521"/>
            <a:ext cx="4950060" cy="411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 potential (Margin/ Cost, NWC, Cash, Revenue)</a:t>
            </a:r>
            <a:b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absolute score from low to high)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493320D8-2509-40DD-AFFA-AFB91AA464AC}"/>
              </a:ext>
            </a:extLst>
          </p:cNvPr>
          <p:cNvSpPr txBox="1"/>
          <p:nvPr/>
        </p:nvSpPr>
        <p:spPr bwMode="gray">
          <a:xfrm rot="16200000">
            <a:off x="-604566" y="3408294"/>
            <a:ext cx="1686666" cy="411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in Relationship to company</a:t>
            </a: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7A9495FE-531A-4EDA-9635-17EA6D97CAB9}"/>
              </a:ext>
            </a:extLst>
          </p:cNvPr>
          <p:cNvSpPr/>
          <p:nvPr/>
        </p:nvSpPr>
        <p:spPr bwMode="gray">
          <a:xfrm>
            <a:off x="3052049" y="6047567"/>
            <a:ext cx="6759758" cy="194469"/>
          </a:xfrm>
          <a:prstGeom prst="rightArrow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accent3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D74F176-D606-4B02-B95B-93050E0B17CA}"/>
              </a:ext>
            </a:extLst>
          </p:cNvPr>
          <p:cNvSpPr txBox="1"/>
          <p:nvPr/>
        </p:nvSpPr>
        <p:spPr bwMode="gray">
          <a:xfrm>
            <a:off x="10989000" y="1585939"/>
            <a:ext cx="594987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ve 1</a:t>
            </a: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85885377-94FA-48FD-AC1D-7168CDB358B1}"/>
              </a:ext>
            </a:extLst>
          </p:cNvPr>
          <p:cNvSpPr/>
          <p:nvPr/>
        </p:nvSpPr>
        <p:spPr bwMode="gray">
          <a:xfrm rot="16200000">
            <a:off x="-217885" y="3460674"/>
            <a:ext cx="1392929" cy="194469"/>
          </a:xfrm>
          <a:prstGeom prst="rightArrow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accent3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780F58-446C-41AE-AD14-C49491DA456D}"/>
              </a:ext>
            </a:extLst>
          </p:cNvPr>
          <p:cNvSpPr txBox="1"/>
          <p:nvPr/>
        </p:nvSpPr>
        <p:spPr bwMode="gray">
          <a:xfrm rot="16200000">
            <a:off x="-118666" y="1304613"/>
            <a:ext cx="9316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cellent relationship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EEB242E-E05D-4726-825B-8DEAD66896B5}"/>
              </a:ext>
            </a:extLst>
          </p:cNvPr>
          <p:cNvSpPr txBox="1"/>
          <p:nvPr/>
        </p:nvSpPr>
        <p:spPr bwMode="gray">
          <a:xfrm rot="16200000">
            <a:off x="-107065" y="5494011"/>
            <a:ext cx="90845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 relationship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0446594-CD83-4B8F-B851-09B1C104BE5E}"/>
              </a:ext>
            </a:extLst>
          </p:cNvPr>
          <p:cNvSpPr txBox="1"/>
          <p:nvPr/>
        </p:nvSpPr>
        <p:spPr bwMode="gray">
          <a:xfrm>
            <a:off x="571334" y="6000281"/>
            <a:ext cx="1462738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wer improvement potential vs peer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EAA5CE3-097B-460C-A409-3B89173E4031}"/>
              </a:ext>
            </a:extLst>
          </p:cNvPr>
          <p:cNvSpPr txBox="1"/>
          <p:nvPr/>
        </p:nvSpPr>
        <p:spPr bwMode="gray">
          <a:xfrm>
            <a:off x="10572750" y="6047463"/>
            <a:ext cx="1289050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er improvement potential vs peers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9AE1C1A-35D0-44FE-A1CD-B1D441DD00EF}"/>
              </a:ext>
            </a:extLst>
          </p:cNvPr>
          <p:cNvSpPr/>
          <p:nvPr/>
        </p:nvSpPr>
        <p:spPr bwMode="gray">
          <a:xfrm>
            <a:off x="10986268" y="5184097"/>
            <a:ext cx="590598" cy="57238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~$3B</a:t>
            </a:r>
            <a:endParaRPr kumimoji="0" lang="pl-PL" sz="7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enue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426D4E3-D8F2-474F-B8E1-81204623FAE6}"/>
              </a:ext>
            </a:extLst>
          </p:cNvPr>
          <p:cNvSpPr txBox="1"/>
          <p:nvPr/>
        </p:nvSpPr>
        <p:spPr bwMode="gray">
          <a:xfrm>
            <a:off x="10989000" y="3832946"/>
            <a:ext cx="594987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ve 2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39EEDA0-A5E5-4B6E-843B-640F4445A5AE}"/>
              </a:ext>
            </a:extLst>
          </p:cNvPr>
          <p:cNvSpPr txBox="1"/>
          <p:nvPr/>
        </p:nvSpPr>
        <p:spPr bwMode="gray">
          <a:xfrm>
            <a:off x="10989000" y="4592659"/>
            <a:ext cx="594987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ve 3</a:t>
            </a:r>
          </a:p>
        </p:txBody>
      </p:sp>
      <p:sp>
        <p:nvSpPr>
          <p:cNvPr id="3" name="btfpNotesBox337012">
            <a:extLst>
              <a:ext uri="{FF2B5EF4-FFF2-40B4-BE49-F238E27FC236}">
                <a16:creationId xmlns:a16="http://schemas.microsoft.com/office/drawing/2014/main" id="{AE5D2731-58A4-4DB3-BBA5-9D911C40699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*Current/recent account = Bain revenues between XXX</a:t>
            </a:r>
          </a:p>
        </p:txBody>
      </p:sp>
      <p:sp>
        <p:nvSpPr>
          <p:cNvPr id="48" name="Title 47">
            <a:extLst>
              <a:ext uri="{FF2B5EF4-FFF2-40B4-BE49-F238E27FC236}">
                <a16:creationId xmlns:a16="http://schemas.microsoft.com/office/drawing/2014/main" id="{601CAEE8-3E76-47E1-63C7-B3F69942D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47" name="Chart 146">
            <a:extLst>
              <a:ext uri="{FF2B5EF4-FFF2-40B4-BE49-F238E27FC236}">
                <a16:creationId xmlns:a16="http://schemas.microsoft.com/office/drawing/2014/main" id="{8159694E-A581-C2B0-DC11-5A09482C4C84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31779743"/>
              </p:ext>
            </p:extLst>
          </p:nvPr>
        </p:nvGraphicFramePr>
        <p:xfrm>
          <a:off x="806450" y="1108075"/>
          <a:ext cx="11039475" cy="4778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5" name="Text Placeholder">
            <a:extLst>
              <a:ext uri="{FF2B5EF4-FFF2-40B4-BE49-F238E27FC236}">
                <a16:creationId xmlns:a16="http://schemas.microsoft.com/office/drawing/2014/main" id="{3623A85E-2F3C-C017-14A0-C8A34272F339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839788" y="583406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225EA49-976C-4D48-8FE3-76F5AA13A6C4}" type="datetime'''''''''''''''''''''''''''''''''''''''0'''''''''''">
              <a:rPr lang="en-US" altLang="en-US" smtClean="0">
                <a:solidFill>
                  <a:srgbClr val="000000"/>
                </a:solidFill>
              </a:rPr>
              <a:pPr/>
              <a:t>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6D81AF19-BA02-8B98-5394-14014D60A2F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3559175" y="583406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F2DA850-BA3A-48D9-9EBC-EB6623B34905}" type="datetime'5'''''''''''''">
              <a:rPr lang="en-US" alt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0" name="Text Placeholder">
            <a:extLst>
              <a:ext uri="{FF2B5EF4-FFF2-40B4-BE49-F238E27FC236}">
                <a16:creationId xmlns:a16="http://schemas.microsoft.com/office/drawing/2014/main" id="{936CBDEA-D936-EE78-5C17-8CACE95A5D8E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6227763" y="583406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6AA215C-719B-4F7C-83D1-67E62F7A3D71}" type="datetime'''1''0'''''''''''''''''''''''''''''''''''''''''''''''''''">
              <a:rPr lang="en-US" altLang="en-US" smtClean="0">
                <a:solidFill>
                  <a:srgbClr val="000000"/>
                </a:solidFill>
              </a:rPr>
              <a:pPr/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" name="Text Placeholder">
            <a:extLst>
              <a:ext uri="{FF2B5EF4-FFF2-40B4-BE49-F238E27FC236}">
                <a16:creationId xmlns:a16="http://schemas.microsoft.com/office/drawing/2014/main" id="{5B9C35C4-1BC9-11CB-A18D-32A96CAA2A7F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8947150" y="583406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879DE7F-7AAD-4A90-93AA-75116DDF1EB2}" type="datetime'''''''''''''''''''''1''''''''''''''''''''''''''''''5'''''">
              <a:rPr lang="en-US" altLang="en-US" smtClean="0">
                <a:solidFill>
                  <a:srgbClr val="000000"/>
                </a:solidFill>
              </a:rPr>
              <a:pPr/>
              <a:t>1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3" name="Text Placeholder">
            <a:extLst>
              <a:ext uri="{FF2B5EF4-FFF2-40B4-BE49-F238E27FC236}">
                <a16:creationId xmlns:a16="http://schemas.microsoft.com/office/drawing/2014/main" id="{D49AA4F3-3101-B911-D4F5-D78904B4E7A9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1664950" y="583406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8D4CA3E-A6A5-4B32-850C-33C75EBEA210}" type="datetime'''''''''''''''''20'''''''''''''''''''''''''''''''''">
              <a:rPr lang="en-US" altLang="en-US" smtClean="0">
                <a:solidFill>
                  <a:srgbClr val="000000"/>
                </a:solidFill>
              </a:rPr>
              <a:pPr/>
              <a:t>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1DBC3EE8-462A-C831-1558-AB07331513D1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673100" y="566896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0DF1277-3C4D-427E-9CF3-5422512D1707}" type="datetime'''''''''''''''''''''''''''''0'''''''''''''''''">
              <a:rPr lang="en-US" altLang="en-US" smtClean="0">
                <a:solidFill>
                  <a:srgbClr val="000000"/>
                </a:solidFill>
              </a:rPr>
              <a:pPr/>
              <a:t>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4" name="Text Placeholder">
            <a:extLst>
              <a:ext uri="{FF2B5EF4-FFF2-40B4-BE49-F238E27FC236}">
                <a16:creationId xmlns:a16="http://schemas.microsoft.com/office/drawing/2014/main" id="{B3239C86-0C3E-6280-E8CC-75479FDFC649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673100" y="4751388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190B0235-4064-46EF-B083-7139F0DA81BB}" type="datetime'''''''''''''''''''''''''''1'''''''''''">
              <a:rPr lang="en-US" altLang="en-US" smtClean="0">
                <a:solidFill>
                  <a:srgbClr val="000000"/>
                </a:solidFill>
              </a:rPr>
              <a:pPr/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5" name="Text Placeholder">
            <a:extLst>
              <a:ext uri="{FF2B5EF4-FFF2-40B4-BE49-F238E27FC236}">
                <a16:creationId xmlns:a16="http://schemas.microsoft.com/office/drawing/2014/main" id="{2D19F6B4-2A84-59F3-653D-8308558EA968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673100" y="3835400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F9B4E9EE-6119-41D0-894E-5CE815EA3B6C}" type="datetime'''''''''''''''''2'''''''''''''''''''''">
              <a:rPr lang="en-US" altLang="en-US" smtClean="0">
                <a:solidFill>
                  <a:srgbClr val="000000"/>
                </a:solidFill>
              </a:rPr>
              <a:pPr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6" name="Text Placeholder">
            <a:extLst>
              <a:ext uri="{FF2B5EF4-FFF2-40B4-BE49-F238E27FC236}">
                <a16:creationId xmlns:a16="http://schemas.microsoft.com/office/drawing/2014/main" id="{D2DF2C1D-4988-957B-870C-C1864ABBCE15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673100" y="2917825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177BEFFF-688D-4D5D-A950-6983ECFD1E79}" type="datetime'''''''''''''''''''''''''''''''3'''''''">
              <a:rPr lang="en-US" altLang="en-US" smtClean="0">
                <a:solidFill>
                  <a:srgbClr val="000000"/>
                </a:solidFill>
              </a:rPr>
              <a:pPr/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7" name="Text Placeholder">
            <a:extLst>
              <a:ext uri="{FF2B5EF4-FFF2-40B4-BE49-F238E27FC236}">
                <a16:creationId xmlns:a16="http://schemas.microsoft.com/office/drawing/2014/main" id="{598D1252-E107-FDCB-AB3C-EB191C756552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673100" y="2001838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6044F74D-1713-4F41-90FC-27ABE0AB9EBA}" type="datetime'''4'''''''''''''''''''''''''''''''''''''''''''''''''''''''">
              <a:rPr lang="en-US" altLang="en-US" smtClean="0">
                <a:solidFill>
                  <a:srgbClr val="000000"/>
                </a:solidFill>
              </a:rPr>
              <a:pPr/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4" name="Text Placeholder">
            <a:extLst>
              <a:ext uri="{FF2B5EF4-FFF2-40B4-BE49-F238E27FC236}">
                <a16:creationId xmlns:a16="http://schemas.microsoft.com/office/drawing/2014/main" id="{F0DEF3C8-8854-C9AD-B756-2B85245DC1C2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673100" y="108426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74AB02B-8E23-418A-BB54-C7FCDCA51213}" type="datetime'''''''''''5'''''''''''''''''''''''">
              <a:rPr lang="en-US" alt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EC762B92-DCA4-3F15-3BDC-162BFA5DBD9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 flipV="1">
            <a:off x="7135814" y="4810125"/>
            <a:ext cx="112713" cy="936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422A895B-7260-D461-6098-B96049F7B0C3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gray">
          <a:xfrm>
            <a:off x="1462088" y="1776413"/>
            <a:ext cx="136525" cy="1365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6361136C-641E-D7D6-A51C-B002608C7122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 flipV="1">
            <a:off x="5207000" y="2546350"/>
            <a:ext cx="614363" cy="1857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39789213-7B44-3047-4340-A63CC0065894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 flipH="1">
            <a:off x="3443289" y="3413125"/>
            <a:ext cx="23813" cy="809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FC98BC43-3952-1323-F47A-4A9A3C920F01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 flipV="1">
            <a:off x="10502900" y="4725988"/>
            <a:ext cx="122238" cy="122237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C61F360A-CB2B-4C97-F8F2-5605EF66F422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 flipV="1">
            <a:off x="8215313" y="4464050"/>
            <a:ext cx="714375" cy="9636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0A02FD8D-B440-7A27-30C6-400FBCF6D016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 flipH="1">
            <a:off x="4081463" y="3648075"/>
            <a:ext cx="949325" cy="3937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2E952BA7-450B-EF21-91BA-761E85E9C1CB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 flipH="1">
            <a:off x="7694613" y="1800225"/>
            <a:ext cx="23812" cy="4810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F20D130C-9FAD-5980-2EB5-0BBE3FA82613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 flipH="1" flipV="1">
            <a:off x="3194050" y="5194300"/>
            <a:ext cx="9525" cy="349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C8C1D18C-AEE4-F6EB-928A-13FE6EECA7F0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 flipV="1">
            <a:off x="5137150" y="4759325"/>
            <a:ext cx="57150" cy="1063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3433EA2C-77E0-275A-58E2-CF6C8736E7E8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8045449" y="3602038"/>
            <a:ext cx="46038" cy="619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4DFC254C-FF01-C6DF-3B88-FF602955C716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 flipH="1" flipV="1">
            <a:off x="2185988" y="5349875"/>
            <a:ext cx="266700" cy="1603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4094122A-684B-1946-60B3-69EB1CA6F3CB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 flipH="1">
            <a:off x="2011363" y="3200400"/>
            <a:ext cx="130175" cy="8747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" name="Text Placeholder">
            <a:extLst>
              <a:ext uri="{FF2B5EF4-FFF2-40B4-BE49-F238E27FC236}">
                <a16:creationId xmlns:a16="http://schemas.microsoft.com/office/drawing/2014/main" id="{74210818-E43E-8F9C-7C6E-3B960225B32D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930275" y="1563688"/>
            <a:ext cx="8493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9A728D4A-4B64-413A-A809-CC1A6E337001}" type="datetime'T''''''''e''s''''''''''''''l''''a'','''' I''n''''''c''''.'''''">
              <a:rPr lang="en-US" altLang="en-US" smtClean="0">
                <a:solidFill>
                  <a:srgbClr val="000000"/>
                </a:solidFill>
                <a:effectLst/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Tesla, Inc.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5" name="Text Placeholder">
            <a:extLst>
              <a:ext uri="{FF2B5EF4-FFF2-40B4-BE49-F238E27FC236}">
                <a16:creationId xmlns:a16="http://schemas.microsoft.com/office/drawing/2014/main" id="{EA67883A-07F0-B46E-89B4-C56C7E640DF1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2257425" y="3200400"/>
            <a:ext cx="2484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FAD56B77-2030-4F25-A889-F5A76DFA7014}" type="datetime'G''ene''''r''''a''''''''''l Dynamics ''C''''o''rpo''ration'''">
              <a:rPr lang="en-US" altLang="en-US" smtClean="0">
                <a:solidFill>
                  <a:srgbClr val="000000"/>
                </a:solidFill>
              </a:rPr>
              <a:pPr/>
              <a:t>General Dynamics Corporation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0" name="Text Placeholder">
            <a:extLst>
              <a:ext uri="{FF2B5EF4-FFF2-40B4-BE49-F238E27FC236}">
                <a16:creationId xmlns:a16="http://schemas.microsoft.com/office/drawing/2014/main" id="{8104AAA8-62B7-1744-02C9-DBE5E022E597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10177463" y="1909763"/>
            <a:ext cx="1538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AD82225-1DE1-4B19-8F77-49812C718E7B}" type="datetime'''''F''ed''E''''x'' Co''rpo''''''''rat''''i''o''''''''''''n'">
              <a:rPr lang="en-US" altLang="en-US" smtClean="0">
                <a:solidFill>
                  <a:srgbClr val="000000"/>
                </a:solidFill>
              </a:rPr>
              <a:pPr/>
              <a:t>FedEx Corporation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2" name="Text Placeholder">
            <a:extLst>
              <a:ext uri="{FF2B5EF4-FFF2-40B4-BE49-F238E27FC236}">
                <a16:creationId xmlns:a16="http://schemas.microsoft.com/office/drawing/2014/main" id="{20BBCA9D-697F-9F88-E04E-F1B49D92BF14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2640013" y="5229225"/>
            <a:ext cx="11938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0D3AB534-1416-48CD-B698-4DE76E6100EC}" type="datetime'''Cat''''erpi''l''''l''a''r'''' I''n''''c''.'''''''''">
              <a:rPr lang="en-US" altLang="en-US" smtClean="0">
                <a:solidFill>
                  <a:srgbClr val="000000"/>
                </a:solidFill>
              </a:rPr>
              <a:pPr/>
              <a:t>Caterpillar Inc.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8" name="Text Placeholder">
            <a:extLst>
              <a:ext uri="{FF2B5EF4-FFF2-40B4-BE49-F238E27FC236}">
                <a16:creationId xmlns:a16="http://schemas.microsoft.com/office/drawing/2014/main" id="{5ACDCAEC-BFA0-6EC0-92AE-496C675F2E85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5502275" y="1257300"/>
            <a:ext cx="1104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DED0A3B-E7B8-42A7-8F8A-89B1800E10B3}" type="datetime'3''''''''M ''''C''om''''p''''''an''''y'''''''''''''''''''">
              <a:rPr lang="en-US" altLang="en-US" smtClean="0">
                <a:solidFill>
                  <a:srgbClr val="000000"/>
                </a:solidFill>
              </a:rPr>
              <a:pPr/>
              <a:t>3M Company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6" name="Text Placeholder">
            <a:extLst>
              <a:ext uri="{FF2B5EF4-FFF2-40B4-BE49-F238E27FC236}">
                <a16:creationId xmlns:a16="http://schemas.microsoft.com/office/drawing/2014/main" id="{4EB32AF6-BA5D-AF05-973D-D49BC7B3AAFA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9998075" y="3289300"/>
            <a:ext cx="1392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8A314B0F-0B7E-48A7-9F21-06F4C84DCFDA}" type="datetime'''''C''S''''X'''''''' C''''''''o''''''''''''''rpora''''''tion'">
              <a:rPr lang="en-US" altLang="en-US" smtClean="0">
                <a:solidFill>
                  <a:srgbClr val="000000"/>
                </a:solidFill>
              </a:rPr>
              <a:pPr/>
              <a:t>CSX Corporation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7" name="Text Placeholder">
            <a:extLst>
              <a:ext uri="{FF2B5EF4-FFF2-40B4-BE49-F238E27FC236}">
                <a16:creationId xmlns:a16="http://schemas.microsoft.com/office/drawing/2014/main" id="{5A68E209-1E12-6F39-BB4B-FBEC83C3A247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6800850" y="5427663"/>
            <a:ext cx="2671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CDBEA430-ECCC-48E5-9E0E-E2F4A5618011}" type="datetime'Hun''''tin''''gton ''Ing''alls Indus''''tr''ies,'' Inc.'''''">
              <a:rPr lang="en-US" altLang="en-US" smtClean="0">
                <a:solidFill>
                  <a:srgbClr val="000000"/>
                </a:solidFill>
              </a:rPr>
              <a:pPr/>
              <a:t>Huntington Ingalls Industries, Inc.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2" name="Text Placeholder">
            <a:extLst>
              <a:ext uri="{FF2B5EF4-FFF2-40B4-BE49-F238E27FC236}">
                <a16:creationId xmlns:a16="http://schemas.microsoft.com/office/drawing/2014/main" id="{86EEA9F1-A3C0-63F3-BA33-8EDF82B40136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3036888" y="1250950"/>
            <a:ext cx="2228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95D9A79C-7BE2-4AE3-9E67-2FF342DF2960}" type="datetime'Ho''neyw''''el''l ''Int''''''er''national'' In''c''.'''">
              <a:rPr lang="en-US" altLang="en-US" smtClean="0">
                <a:solidFill>
                  <a:srgbClr val="000000"/>
                </a:solidFill>
              </a:rPr>
              <a:pPr/>
              <a:t>Honeywell International Inc.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8" name="Text Placeholder">
            <a:extLst>
              <a:ext uri="{FF2B5EF4-FFF2-40B4-BE49-F238E27FC236}">
                <a16:creationId xmlns:a16="http://schemas.microsoft.com/office/drawing/2014/main" id="{F5B33A6B-BA21-DC5D-5E02-5E407B097C71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3763963" y="2732088"/>
            <a:ext cx="21859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6D510B8-CF52-421B-98AD-6EE2BFB199E5}" type="datetime'L3''Har''r''''i''s Tec''hn''olo''gies'','''' I''''n''''''c''.'">
              <a:rPr lang="en-US" altLang="en-US" smtClean="0">
                <a:solidFill>
                  <a:srgbClr val="000000"/>
                </a:solidFill>
              </a:rPr>
              <a:pPr/>
              <a:t>L3Harris Technologies, Inc.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6" name="Text Placeholder">
            <a:extLst>
              <a:ext uri="{FF2B5EF4-FFF2-40B4-BE49-F238E27FC236}">
                <a16:creationId xmlns:a16="http://schemas.microsoft.com/office/drawing/2014/main" id="{B02D3AEB-D2F9-473C-2820-881D7AF9DEA2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893763" y="5510213"/>
            <a:ext cx="34734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D76AA166-F11F-4AFB-9CC5-E4BE04068A59}" type="datetime'Expe''ditors'' International of W''a''shington, ''I''nc''.'''">
              <a:rPr lang="en-US" altLang="en-US" smtClean="0">
                <a:solidFill>
                  <a:srgbClr val="000000"/>
                </a:solidFill>
              </a:rPr>
              <a:pPr/>
              <a:t>Expeditors International of Washington, Inc.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3" name="Text Placeholder">
            <a:extLst>
              <a:ext uri="{FF2B5EF4-FFF2-40B4-BE49-F238E27FC236}">
                <a16:creationId xmlns:a16="http://schemas.microsoft.com/office/drawing/2014/main" id="{0CF4A5C4-8C54-9A03-09E8-B2E737D69FBE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4006850" y="4865688"/>
            <a:ext cx="2146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FB381DF6-8EB5-41A9-9D77-C9256DC55DFF}" type="datetime'''''Curtiss''''-Wr''ight'''' C''or''''po''r''''a''tion'''''''">
              <a:rPr lang="en-US" altLang="en-US" smtClean="0">
                <a:solidFill>
                  <a:srgbClr val="000000"/>
                </a:solidFill>
              </a:rPr>
              <a:pPr/>
              <a:t>Curtiss-Wright Corporation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6" name="Text Placeholder">
            <a:extLst>
              <a:ext uri="{FF2B5EF4-FFF2-40B4-BE49-F238E27FC236}">
                <a16:creationId xmlns:a16="http://schemas.microsoft.com/office/drawing/2014/main" id="{7F9C1C29-EBA1-7EA9-2605-F8048B4FAF98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4359275" y="3435350"/>
            <a:ext cx="18557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21F3CB76-4932-4866-B88D-53BF2125753F}" type="datetime'''''''Rep''u''''bli''''''''c'' ''''Servic''es'''', I''nc.'''">
              <a:rPr lang="en-US" altLang="en-US" smtClean="0">
                <a:solidFill>
                  <a:srgbClr val="000000"/>
                </a:solidFill>
              </a:rPr>
              <a:pPr/>
              <a:t>Republic Services, Inc.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8" name="Text Placeholder">
            <a:extLst>
              <a:ext uri="{FF2B5EF4-FFF2-40B4-BE49-F238E27FC236}">
                <a16:creationId xmlns:a16="http://schemas.microsoft.com/office/drawing/2014/main" id="{E3D72AF2-5245-6BBA-81F4-01BB8E56BBA9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9239250" y="4848225"/>
            <a:ext cx="2316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5D62E74-9C7E-48B2-A158-06254C0231D5}" type="datetime'L''a''''nd''''''''se''''a Ho''''me''s C''orp''''or''ation'''''">
              <a:rPr lang="en-US" altLang="en-US" smtClean="0">
                <a:solidFill>
                  <a:srgbClr val="000000"/>
                </a:solidFill>
              </a:rPr>
              <a:pPr/>
              <a:t>Landsea Homes Corporation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3" name="Text Placeholder">
            <a:extLst>
              <a:ext uri="{FF2B5EF4-FFF2-40B4-BE49-F238E27FC236}">
                <a16:creationId xmlns:a16="http://schemas.microsoft.com/office/drawing/2014/main" id="{79C95D3B-1382-5695-6EA2-BA2F5821B987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7305675" y="3389313"/>
            <a:ext cx="13223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9A1D76FA-7C6C-4955-B4F0-C89FF5D0010D}" type="datetime'Ball ''C''''''or''po''''''''''''r''''a''''''''''tio''''n'''">
              <a:rPr lang="en-US" altLang="en-US" smtClean="0">
                <a:solidFill>
                  <a:srgbClr val="000000"/>
                </a:solidFill>
              </a:rPr>
              <a:pPr/>
              <a:t>Ball Corporation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3" name="Text Placeholder">
            <a:extLst>
              <a:ext uri="{FF2B5EF4-FFF2-40B4-BE49-F238E27FC236}">
                <a16:creationId xmlns:a16="http://schemas.microsoft.com/office/drawing/2014/main" id="{94B48A43-8853-D888-F7CD-B19CDFB237B4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6430963" y="1587500"/>
            <a:ext cx="25844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9A307F7E-CF16-47B8-A82B-25F58A35E5B6}" type="datetime'''Brookf''i''''eld ''Bu''''''sin''ess Cor''''por''a''''''tion'">
              <a:rPr lang="en-US" altLang="en-US" smtClean="0">
                <a:solidFill>
                  <a:srgbClr val="000000"/>
                </a:solidFill>
              </a:rPr>
              <a:pPr/>
              <a:t>Brookfield Business Corporation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1" name="Text Placeholder">
            <a:extLst>
              <a:ext uri="{FF2B5EF4-FFF2-40B4-BE49-F238E27FC236}">
                <a16:creationId xmlns:a16="http://schemas.microsoft.com/office/drawing/2014/main" id="{1A3F8104-06D8-9EDA-3C6C-E26534E2B392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1027113" y="2987675"/>
            <a:ext cx="2257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0F44A102-DF87-407B-B284-D32F22988EE2}" type="datetime'''Pa''''rke''r-''''H''an''nifi''''n'''''''' ''''Corporatio''n'">
              <a:rPr lang="en-US" altLang="en-US" smtClean="0">
                <a:solidFill>
                  <a:srgbClr val="000000"/>
                </a:solidFill>
              </a:rPr>
              <a:pPr/>
              <a:t>Parker-Hannifin Corporation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3" name="Text Placeholder">
            <a:extLst>
              <a:ext uri="{FF2B5EF4-FFF2-40B4-BE49-F238E27FC236}">
                <a16:creationId xmlns:a16="http://schemas.microsoft.com/office/drawing/2014/main" id="{0EDDCD0F-61E8-7E40-E994-1A2BEEF3FA18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6161088" y="4903788"/>
            <a:ext cx="1687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6D62FD2D-471B-4DB7-B031-87106D9BF4A3}" type="datetime'C''ro''wn H''o''ldin''g''''s,'''' I''''n''c.'''''''">
              <a:rPr lang="en-US" altLang="en-US" smtClean="0">
                <a:solidFill>
                  <a:srgbClr val="000000"/>
                </a:solidFill>
              </a:rPr>
              <a:pPr/>
              <a:t>Crown Holdings, Inc.</a:t>
            </a:fld>
            <a:endParaRPr lang="en-US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06882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THINKCELLPRESENTATIONDONOTDELETE" val="&lt;?xml version=&quot;1.0&quot; encoding=&quot;UTF-16&quot; standalone=&quot;yes&quot;?&gt;&lt;root reqver=&quot;30783&quot;&gt;&lt;version val=&quot;3668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lehfxbIbvwqoDdxWPlp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7Ryl2gjjmWCHv891Nu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NpFIwOzLv0QaXdpV_K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wx5keIiN33RMnAL8hD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nZWtzo6YPbmlyj2MyW9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KIYMG01EM_ic3sdSLl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O01amgaSKuxx2zbPgb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ov420zqLSLZsi_u2.cB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Z7Wu2rDAyb6LgviqX3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HpLgmhZ2AxXNlbAE6n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zojTzdN3m8CZ2IuAvv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IX96en09YG.tK.YQXP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j0LPV3n5vR3dtlaV7q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wjZ3BGhlWsas0r2zoO.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SKYoxViv0GDcwKqiWwa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2ZmDXxcTFOXqyfTjKOE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VvPl.H7YIewFJ7tWg1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FdFqZWXgGY01VZRisI8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q0ahBIRHeLF2OoRHftn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cG40YWs92tPrlfUOmk0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2"/>
  <p:tag name="BTFPLAYOUTENAB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Y6hf7Ne6lGzv7E2awyc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_yKctNHEWKPhqUw1bKC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c94aQzcd8U5pMaxSkDW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BiWcAOo3MsS5TNxDRb8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CZFmnP8mGxnuTKCy68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tx_psDrO7vdUH51k5sR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R2oupydOh0wx1npY0h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tWsvlltYau.kWWzz06Q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z4tH11eMWVeGy21fR02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VbE.WpdE1FdfUJemU5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K37xUto423OUVlalhyY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T5EuoC49QpN1ybXBiT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ZwBVFr2piwVi65_FXeg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6muHs2GiKwH7hJxjrvE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zlx1Rkqy09kdAYMmGzo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sy.FpF34mlXVe5aN9mJ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zpEfjK0PScqh_ERa6.a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LRkDtDfzDABgP38pv3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VAL7x5XLaPxzR2iM3I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nqZXM9mFay7Wizwr9CO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dP2yBnD1arxM4ecMg8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dg8ZKn31mJsowNI66ZhA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6</TotalTime>
  <Words>88</Words>
  <Application>Microsoft Office PowerPoint</Application>
  <PresentationFormat>Widescreen</PresentationFormat>
  <Paragraphs>4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Bain Core</vt:lpstr>
      <vt:lpstr>think-cell Slide</vt:lpstr>
      <vt:lpstr>PowerPoint Presentation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laji, Ashwin</dc:creator>
  <cp:lastModifiedBy>Balaji, Ashwin</cp:lastModifiedBy>
  <cp:revision>21</cp:revision>
  <cp:lastPrinted>2017-02-15T14:23:56Z</cp:lastPrinted>
  <dcterms:created xsi:type="dcterms:W3CDTF">2024-07-23T08:24:21Z</dcterms:created>
  <dcterms:modified xsi:type="dcterms:W3CDTF">2024-07-26T10:36:10Z</dcterms:modified>
</cp:coreProperties>
</file>